
<file path=[Content_Types].xml><?xml version="1.0" encoding="utf-8"?>
<Types xmlns="http://schemas.openxmlformats.org/package/2006/content-types"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sldIdLst>
    <p:sldId id="256" r:id="rId2"/>
    <p:sldId id="257" r:id="rId3"/>
  </p:sldIdLst>
  <p:sldSz cx="12192000" cy="6858000"/>
  <p:notesSz cx="6858000" cy="9144000"/>
  <p:defaultTextStyle>
    <a:defPPr>
      <a:defRPr lang="it-I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20"/>
    <p:restoredTop sz="94690"/>
  </p:normalViewPr>
  <p:slideViewPr>
    <p:cSldViewPr snapToGrid="0" snapToObjects="1">
      <p:cViewPr varScale="1">
        <p:scale>
          <a:sx n="74" d="100"/>
          <a:sy n="74" d="100"/>
        </p:scale>
        <p:origin x="176" y="76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slide" Target="slides/slide2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EC91964-62C2-BA4D-BD05-89AA6896053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it-IT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8B08374-E593-7746-9AFD-BB45BCC6A42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it-IT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1B7B178-4834-0A4C-B1B9-F7EDC2C040F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FA132B-2246-BF4B-BBB7-6C90132FBFD6}" type="datetimeFigureOut">
              <a:rPr lang="it-IT" smtClean="0"/>
              <a:t>17/05/19</a:t>
            </a:fld>
            <a:endParaRPr lang="it-IT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AEBFA58-ED51-5544-9363-2EDB2144843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067DDAA-EBAF-FB40-9C47-D226900F28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90ADCA-5F82-0045-85A0-CB0CBA5A5A4B}" type="slidenum">
              <a:rPr lang="it-IT" smtClean="0"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01386130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362EAA-0543-C248-AABC-498015A2FD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it-IT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CB4DE4F4-24ED-B84A-935F-6F6BB06309D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t-IT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C38E695-E62B-5542-B928-B9B8F52FE9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FA132B-2246-BF4B-BBB7-6C90132FBFD6}" type="datetimeFigureOut">
              <a:rPr lang="it-IT" smtClean="0"/>
              <a:t>17/05/19</a:t>
            </a:fld>
            <a:endParaRPr lang="it-IT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6C0F419-F4E9-E649-995F-D902CFEA7EE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2D22151-3C4F-CB47-835B-984F0C7192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90ADCA-5F82-0045-85A0-CB0CBA5A5A4B}" type="slidenum">
              <a:rPr lang="it-IT" smtClean="0"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42869240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AD843AFE-B6F9-2546-AC68-57DDD6B2CED8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it-IT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9BD77099-13E2-054F-ACA6-4A8BFA38066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t-IT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20F1155-07C4-8C47-9563-88E05E2030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FA132B-2246-BF4B-BBB7-6C90132FBFD6}" type="datetimeFigureOut">
              <a:rPr lang="it-IT" smtClean="0"/>
              <a:t>17/05/19</a:t>
            </a:fld>
            <a:endParaRPr lang="it-IT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2E9001E-CB9F-AB47-9094-E92A6A70E3D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6A03985-ACFE-864E-A397-FED39D2012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90ADCA-5F82-0045-85A0-CB0CBA5A5A4B}" type="slidenum">
              <a:rPr lang="it-IT" smtClean="0"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33001751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4B6B4D2-9BCC-7E49-9D4A-371E094C66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it-IT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81E1A21-C51C-5C4B-B7F2-652BBF0F4E4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t-IT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D10A1FF-672B-A246-8CCB-4D1E881F1CD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FA132B-2246-BF4B-BBB7-6C90132FBFD6}" type="datetimeFigureOut">
              <a:rPr lang="it-IT" smtClean="0"/>
              <a:t>17/05/19</a:t>
            </a:fld>
            <a:endParaRPr lang="it-IT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4D593AC-9F5F-104A-AF62-AE8F8E59D1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49BD880-49EB-DB43-A062-D853E0EDC5C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90ADCA-5F82-0045-85A0-CB0CBA5A5A4B}" type="slidenum">
              <a:rPr lang="it-IT" smtClean="0"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65904033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0DAF85-13B1-E04F-B047-0F786A36C14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it-IT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02F47EF-ED35-264F-93BC-A8B4DFEEC55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E83D1B0-D640-4F46-87E7-7BDE97947F1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FA132B-2246-BF4B-BBB7-6C90132FBFD6}" type="datetimeFigureOut">
              <a:rPr lang="it-IT" smtClean="0"/>
              <a:t>17/05/19</a:t>
            </a:fld>
            <a:endParaRPr lang="it-IT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52311BC-4A48-DB40-9E6B-270C4C9A75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D9F81B5-27FF-AB44-B6DB-0EE8B9FDAF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90ADCA-5F82-0045-85A0-CB0CBA5A5A4B}" type="slidenum">
              <a:rPr lang="it-IT" smtClean="0"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85420858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BD018E7-82F5-3442-BD6E-0186155B07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it-IT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53DBB42-3BBD-BA47-A074-F8C54C2CC9F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t-IT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66B5753-FDE7-D749-8F2E-B2D74C6B8CA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t-IT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B9C2383-5C29-C24E-A358-C09CBF0450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FA132B-2246-BF4B-BBB7-6C90132FBFD6}" type="datetimeFigureOut">
              <a:rPr lang="it-IT" smtClean="0"/>
              <a:t>17/05/19</a:t>
            </a:fld>
            <a:endParaRPr lang="it-IT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2A5C964-87B0-B84C-B42C-4BFFC2C65C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251C7BF-FF10-0F44-834B-96122C9A09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90ADCA-5F82-0045-85A0-CB0CBA5A5A4B}" type="slidenum">
              <a:rPr lang="it-IT" smtClean="0"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64234557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126028C-103C-9A44-8D53-4A8B05BAF1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it-IT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3BF0385-6702-0D46-88CD-82B7600A27A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68A6432-5B25-E24B-B8A1-A51926809FF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t-IT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45D0DC0-DD8E-D24E-9168-C8E3FC3E2A88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3D294C57-32AD-0B43-97A2-D84CD7A6CB0A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t-IT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DE60C70A-2B0E-F94D-B1ED-042AECD63C5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FA132B-2246-BF4B-BBB7-6C90132FBFD6}" type="datetimeFigureOut">
              <a:rPr lang="it-IT" smtClean="0"/>
              <a:t>17/05/19</a:t>
            </a:fld>
            <a:endParaRPr lang="it-IT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E8C8DED0-E775-FF48-B5BD-C57B728EFCE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7E23CCF7-1575-D04C-9FC6-6F1F476646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90ADCA-5F82-0045-85A0-CB0CBA5A5A4B}" type="slidenum">
              <a:rPr lang="it-IT" smtClean="0"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01096335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6F26955-B34F-8D45-BA2C-A2922CFE04B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it-IT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7BCB87E-6990-344F-8B71-4B0A26EDD51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FA132B-2246-BF4B-BBB7-6C90132FBFD6}" type="datetimeFigureOut">
              <a:rPr lang="it-IT" smtClean="0"/>
              <a:t>17/05/19</a:t>
            </a:fld>
            <a:endParaRPr lang="it-IT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ED3632D-A19D-DE4E-9FC3-0506C7962AA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B91B718-6FC2-8742-A743-B9F68814D7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90ADCA-5F82-0045-85A0-CB0CBA5A5A4B}" type="slidenum">
              <a:rPr lang="it-IT" smtClean="0"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00713924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48E144A-F1D0-2F46-A370-D3A8DD3FCBC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FA132B-2246-BF4B-BBB7-6C90132FBFD6}" type="datetimeFigureOut">
              <a:rPr lang="it-IT" smtClean="0"/>
              <a:t>17/05/19</a:t>
            </a:fld>
            <a:endParaRPr lang="it-IT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3CED56B-B7BE-D449-A6D6-7A5968A324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93F6A67-5B9B-A648-96EE-04DA399590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90ADCA-5F82-0045-85A0-CB0CBA5A5A4B}" type="slidenum">
              <a:rPr lang="it-IT" smtClean="0"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00370117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40FEEE9-C645-1041-A8FA-36B7AEDDA7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it-IT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E1EF8CC-19AB-CC41-8BB7-17908E639B0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t-IT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8112088-19D2-1749-A576-A87B3B3072F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BB9194E-0580-1E4F-9946-6491543AE1A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FA132B-2246-BF4B-BBB7-6C90132FBFD6}" type="datetimeFigureOut">
              <a:rPr lang="it-IT" smtClean="0"/>
              <a:t>17/05/19</a:t>
            </a:fld>
            <a:endParaRPr lang="it-IT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8746153-AC79-174C-AA35-8A404B273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A9FE95C-B944-EF44-9B92-5A1B73021A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90ADCA-5F82-0045-85A0-CB0CBA5A5A4B}" type="slidenum">
              <a:rPr lang="it-IT" smtClean="0"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32457029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6366069-3119-124C-B926-24ECA8430D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it-IT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50888367-4A6A-F947-9030-513659A8EC4A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it-IT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B3E1D70-8C31-FA44-B78B-4A9904B6A61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3150BA6-9404-5E4A-B444-E39A3303376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FA132B-2246-BF4B-BBB7-6C90132FBFD6}" type="datetimeFigureOut">
              <a:rPr lang="it-IT" smtClean="0"/>
              <a:t>17/05/19</a:t>
            </a:fld>
            <a:endParaRPr lang="it-IT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D8A426F-6EA3-884D-B7BB-72372F2505A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24AA26B-86C1-BC4D-A18A-78D2D9B586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90ADCA-5F82-0045-85A0-CB0CBA5A5A4B}" type="slidenum">
              <a:rPr lang="it-IT" smtClean="0"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90912933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539B5D7-BCA0-214A-BF2F-92322D1631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it-IT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15B5BB6-E177-2746-B1C1-3C3E2302A6A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t-IT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D8FFD02-74FE-234D-A6DC-F18005D45BD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3FA132B-2246-BF4B-BBB7-6C90132FBFD6}" type="datetimeFigureOut">
              <a:rPr lang="it-IT" smtClean="0"/>
              <a:t>17/05/19</a:t>
            </a:fld>
            <a:endParaRPr lang="it-IT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927AFC-2693-F24C-98E0-50257F4CED3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it-IT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3ECB10F-DA10-354A-873C-91B86353641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890ADCA-5F82-0045-85A0-CB0CBA5A5A4B}" type="slidenum">
              <a:rPr lang="it-IT" smtClean="0"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4914372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2.xml"/><Relationship Id="rId1" Type="http://schemas.openxmlformats.org/officeDocument/2006/relationships/tags" Target="../tags/tag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06E7D928-0A02-6B47-9ABF-A698FC0CFE7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75253161"/>
              </p:ext>
            </p:extLst>
          </p:nvPr>
        </p:nvGraphicFramePr>
        <p:xfrm>
          <a:off x="398349" y="299552"/>
          <a:ext cx="11395302" cy="6577254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254124">
                  <a:extLst>
                    <a:ext uri="{9D8B030D-6E8A-4147-A177-3AD203B41FA5}">
                      <a16:colId xmlns:a16="http://schemas.microsoft.com/office/drawing/2014/main" val="1721960100"/>
                    </a:ext>
                  </a:extLst>
                </a:gridCol>
                <a:gridCol w="3453506">
                  <a:extLst>
                    <a:ext uri="{9D8B030D-6E8A-4147-A177-3AD203B41FA5}">
                      <a16:colId xmlns:a16="http://schemas.microsoft.com/office/drawing/2014/main" val="1620271031"/>
                    </a:ext>
                  </a:extLst>
                </a:gridCol>
                <a:gridCol w="3453506">
                  <a:extLst>
                    <a:ext uri="{9D8B030D-6E8A-4147-A177-3AD203B41FA5}">
                      <a16:colId xmlns:a16="http://schemas.microsoft.com/office/drawing/2014/main" val="3230011288"/>
                    </a:ext>
                  </a:extLst>
                </a:gridCol>
                <a:gridCol w="2234166">
                  <a:extLst>
                    <a:ext uri="{9D8B030D-6E8A-4147-A177-3AD203B41FA5}">
                      <a16:colId xmlns:a16="http://schemas.microsoft.com/office/drawing/2014/main" val="2331634327"/>
                    </a:ext>
                  </a:extLst>
                </a:gridCol>
              </a:tblGrid>
              <a:tr h="371517">
                <a:tc>
                  <a:txBody>
                    <a:bodyPr/>
                    <a:lstStyle/>
                    <a:p>
                      <a:r>
                        <a:rPr lang="en-US" sz="1800" b="1" kern="1200" dirty="0">
                          <a:solidFill>
                            <a:schemeClr val="tx2"/>
                          </a:solidFill>
                          <a:latin typeface="Trade Gothic LT Pro Cn" panose="020B0506040303020004" pitchFamily="34" charset="0"/>
                          <a:ea typeface="+mn-ea"/>
                          <a:cs typeface="Calibri"/>
                        </a:rPr>
                        <a:t>ATTORE</a:t>
                      </a:r>
                      <a:endParaRPr lang="de-LU" sz="1800" b="1" kern="1200" dirty="0">
                        <a:solidFill>
                          <a:schemeClr val="tx2"/>
                        </a:solidFill>
                        <a:latin typeface="Trade Gothic LT Pro Cn" panose="020B0506040303020004" pitchFamily="34" charset="0"/>
                        <a:ea typeface="+mn-ea"/>
                        <a:cs typeface="Calibri"/>
                      </a:endParaRPr>
                    </a:p>
                  </a:txBody>
                  <a:tcPr marL="101323" marR="101323" marT="50661" marB="50661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b="1" kern="1200" dirty="0">
                          <a:solidFill>
                            <a:schemeClr val="tx2"/>
                          </a:solidFill>
                          <a:latin typeface="Trade Gothic LT Pro Cn" panose="020B0506040303020004" pitchFamily="34" charset="0"/>
                          <a:ea typeface="+mn-ea"/>
                          <a:cs typeface="Calibri"/>
                        </a:rPr>
                        <a:t>RUOLO</a:t>
                      </a:r>
                      <a:endParaRPr lang="de-LU" sz="1800" b="1" kern="1200" dirty="0">
                        <a:solidFill>
                          <a:schemeClr val="tx2"/>
                        </a:solidFill>
                        <a:latin typeface="Trade Gothic LT Pro Cn" panose="020B0506040303020004" pitchFamily="34" charset="0"/>
                        <a:ea typeface="+mn-ea"/>
                        <a:cs typeface="Calibri"/>
                      </a:endParaRPr>
                    </a:p>
                  </a:txBody>
                  <a:tcPr marL="101323" marR="101323" marT="50661" marB="50661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de-LU" sz="1800" b="1" kern="1200" dirty="0">
                          <a:solidFill>
                            <a:schemeClr val="tx2"/>
                          </a:solidFill>
                          <a:latin typeface="Trade Gothic LT Pro Cn" panose="020B0506040303020004" pitchFamily="34" charset="0"/>
                          <a:ea typeface="+mn-ea"/>
                          <a:cs typeface="Calibri"/>
                        </a:rPr>
                        <a:t>AGGANCIO</a:t>
                      </a:r>
                    </a:p>
                  </a:txBody>
                  <a:tcPr marL="101323" marR="101323" marT="50661" marB="50661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b="1" kern="1200" dirty="0">
                          <a:solidFill>
                            <a:schemeClr val="tx2"/>
                          </a:solidFill>
                          <a:latin typeface="Trade Gothic LT Pro Cn" panose="020B0506040303020004" pitchFamily="34" charset="0"/>
                          <a:ea typeface="+mn-ea"/>
                          <a:cs typeface="Calibri"/>
                        </a:rPr>
                        <a:t>IMPORTANZA</a:t>
                      </a:r>
                      <a:endParaRPr lang="de-LU" sz="1800" b="1" kern="1200" dirty="0">
                        <a:solidFill>
                          <a:schemeClr val="tx2"/>
                        </a:solidFill>
                        <a:latin typeface="Trade Gothic LT Pro Cn" panose="020B0506040303020004" pitchFamily="34" charset="0"/>
                        <a:ea typeface="+mn-ea"/>
                        <a:cs typeface="Calibri"/>
                      </a:endParaRPr>
                    </a:p>
                  </a:txBody>
                  <a:tcPr marL="101323" marR="101323" marT="50661" marB="50661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080097960"/>
                  </a:ext>
                </a:extLst>
              </a:tr>
              <a:tr h="689068">
                <a:tc>
                  <a:txBody>
                    <a:bodyPr/>
                    <a:lstStyle/>
                    <a:p>
                      <a:endParaRPr lang="de-LU" sz="1300" kern="0" dirty="0">
                        <a:solidFill>
                          <a:srgbClr val="0E2B4D"/>
                        </a:solidFill>
                        <a:latin typeface="Trade Gothic LT Pro Cn" panose="020B0506040303020004" pitchFamily="34" charset="0"/>
                        <a:ea typeface="+mn-ea"/>
                        <a:cs typeface="Calibri"/>
                      </a:endParaRPr>
                    </a:p>
                  </a:txBody>
                  <a:tcPr marL="101323" marR="101323" marT="50661" marB="50661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LU" sz="1300" kern="1200" dirty="0">
                        <a:solidFill>
                          <a:srgbClr val="000000"/>
                        </a:solidFill>
                        <a:latin typeface="Trade Gothic LT Pro Cn" panose="020B0506040303020004" pitchFamily="34" charset="0"/>
                        <a:ea typeface="+mn-ea"/>
                        <a:cs typeface="Calibri"/>
                      </a:endParaRPr>
                    </a:p>
                  </a:txBody>
                  <a:tcPr marL="101323" marR="101323" marT="50661" marB="50661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LU" sz="1300" kern="1200" dirty="0">
                        <a:solidFill>
                          <a:srgbClr val="000000"/>
                        </a:solidFill>
                        <a:latin typeface="Trade Gothic LT Pro Cn" panose="020B0506040303020004" pitchFamily="34" charset="0"/>
                        <a:ea typeface="+mn-ea"/>
                        <a:cs typeface="Calibri"/>
                      </a:endParaRPr>
                    </a:p>
                  </a:txBody>
                  <a:tcPr marL="101323" marR="101323" marT="50661" marB="50661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LU" sz="1300" kern="1200" dirty="0">
                        <a:solidFill>
                          <a:srgbClr val="000000"/>
                        </a:solidFill>
                        <a:latin typeface="Trade Gothic LT Pro Cn" panose="020B0506040303020004" pitchFamily="34" charset="0"/>
                        <a:ea typeface="+mn-ea"/>
                        <a:cs typeface="Calibri"/>
                      </a:endParaRPr>
                    </a:p>
                  </a:txBody>
                  <a:tcPr marL="101323" marR="101323" marT="50661" marB="50661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442407510"/>
                  </a:ext>
                </a:extLst>
              </a:tr>
              <a:tr h="689068">
                <a:tc>
                  <a:txBody>
                    <a:bodyPr/>
                    <a:lstStyle/>
                    <a:p>
                      <a:endParaRPr lang="de-LU" sz="1300" kern="0" dirty="0">
                        <a:solidFill>
                          <a:srgbClr val="5FB18B"/>
                        </a:solidFill>
                        <a:latin typeface="Trade Gothic LT Pro Cn" panose="020B0506040303020004" pitchFamily="34" charset="0"/>
                        <a:ea typeface="+mn-ea"/>
                        <a:cs typeface="Calibri"/>
                      </a:endParaRPr>
                    </a:p>
                  </a:txBody>
                  <a:tcPr marL="101323" marR="101323" marT="50661" marB="50661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300" kern="1200" dirty="0">
                        <a:solidFill>
                          <a:srgbClr val="000000"/>
                        </a:solidFill>
                        <a:latin typeface="Trade Gothic LT Pro Cn" panose="020B0506040303020004" pitchFamily="34" charset="0"/>
                        <a:ea typeface="+mn-ea"/>
                        <a:cs typeface="Calibri"/>
                      </a:endParaRPr>
                    </a:p>
                  </a:txBody>
                  <a:tcPr marL="101323" marR="101323" marT="50661" marB="50661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300" kern="1200" dirty="0">
                        <a:solidFill>
                          <a:srgbClr val="000000"/>
                        </a:solidFill>
                        <a:latin typeface="Trade Gothic LT Pro Cn" panose="020B0506040303020004" pitchFamily="34" charset="0"/>
                        <a:ea typeface="+mn-ea"/>
                        <a:cs typeface="Calibri"/>
                      </a:endParaRPr>
                    </a:p>
                  </a:txBody>
                  <a:tcPr marL="101323" marR="101323" marT="50661" marB="50661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LU" sz="1300" kern="1200" dirty="0">
                        <a:solidFill>
                          <a:srgbClr val="000000"/>
                        </a:solidFill>
                        <a:latin typeface="Trade Gothic LT Pro Cn" panose="020B0506040303020004" pitchFamily="34" charset="0"/>
                        <a:ea typeface="+mn-ea"/>
                        <a:cs typeface="Calibri"/>
                      </a:endParaRPr>
                    </a:p>
                  </a:txBody>
                  <a:tcPr marL="101323" marR="101323" marT="50661" marB="50661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139457324"/>
                  </a:ext>
                </a:extLst>
              </a:tr>
              <a:tr h="689068">
                <a:tc>
                  <a:txBody>
                    <a:bodyPr/>
                    <a:lstStyle/>
                    <a:p>
                      <a:endParaRPr lang="de-LU" sz="1300" kern="0" dirty="0">
                        <a:solidFill>
                          <a:srgbClr val="E76828"/>
                        </a:solidFill>
                        <a:latin typeface="Trade Gothic LT Pro Cn" panose="020B0506040303020004" pitchFamily="34" charset="0"/>
                        <a:ea typeface="+mn-ea"/>
                        <a:cs typeface="Calibri"/>
                      </a:endParaRPr>
                    </a:p>
                  </a:txBody>
                  <a:tcPr marL="101323" marR="101323" marT="50661" marB="50661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300" kern="1200" dirty="0">
                        <a:solidFill>
                          <a:srgbClr val="000000"/>
                        </a:solidFill>
                        <a:latin typeface="Trade Gothic LT Pro Cn" panose="020B0506040303020004" pitchFamily="34" charset="0"/>
                        <a:ea typeface="+mn-ea"/>
                        <a:cs typeface="Calibri"/>
                      </a:endParaRPr>
                    </a:p>
                  </a:txBody>
                  <a:tcPr marL="101323" marR="101323" marT="50661" marB="50661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300" kern="1200" dirty="0">
                        <a:solidFill>
                          <a:srgbClr val="000000"/>
                        </a:solidFill>
                        <a:latin typeface="Trade Gothic LT Pro Cn" panose="020B0506040303020004" pitchFamily="34" charset="0"/>
                        <a:ea typeface="+mn-ea"/>
                        <a:cs typeface="Calibri"/>
                      </a:endParaRPr>
                    </a:p>
                  </a:txBody>
                  <a:tcPr marL="101323" marR="101323" marT="50661" marB="50661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LU" sz="1300" kern="1200" dirty="0">
                        <a:solidFill>
                          <a:srgbClr val="000000"/>
                        </a:solidFill>
                        <a:latin typeface="Trade Gothic LT Pro Cn" panose="020B0506040303020004" pitchFamily="34" charset="0"/>
                        <a:ea typeface="+mn-ea"/>
                        <a:cs typeface="Calibri"/>
                      </a:endParaRPr>
                    </a:p>
                  </a:txBody>
                  <a:tcPr marL="101323" marR="101323" marT="50661" marB="50661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674842039"/>
                  </a:ext>
                </a:extLst>
              </a:tr>
              <a:tr h="689068">
                <a:tc>
                  <a:txBody>
                    <a:bodyPr/>
                    <a:lstStyle/>
                    <a:p>
                      <a:endParaRPr lang="de-LU" sz="1300" kern="0" dirty="0">
                        <a:solidFill>
                          <a:srgbClr val="E76828"/>
                        </a:solidFill>
                        <a:latin typeface="Trade Gothic LT Pro Cn" panose="020B0506040303020004" pitchFamily="34" charset="0"/>
                        <a:ea typeface="+mn-ea"/>
                        <a:cs typeface="Calibri"/>
                      </a:endParaRPr>
                    </a:p>
                  </a:txBody>
                  <a:tcPr marL="101323" marR="101323" marT="50661" marB="50661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300" kern="1200" dirty="0">
                        <a:solidFill>
                          <a:srgbClr val="000000"/>
                        </a:solidFill>
                        <a:latin typeface="Trade Gothic LT Pro Cn" panose="020B0506040303020004" pitchFamily="34" charset="0"/>
                        <a:ea typeface="+mn-ea"/>
                        <a:cs typeface="Calibri"/>
                      </a:endParaRPr>
                    </a:p>
                  </a:txBody>
                  <a:tcPr marL="101323" marR="101323" marT="50661" marB="50661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300" kern="1200" dirty="0">
                        <a:solidFill>
                          <a:srgbClr val="000000"/>
                        </a:solidFill>
                        <a:latin typeface="Trade Gothic LT Pro Cn" panose="020B0506040303020004" pitchFamily="34" charset="0"/>
                        <a:ea typeface="+mn-ea"/>
                        <a:cs typeface="Calibri"/>
                      </a:endParaRPr>
                    </a:p>
                  </a:txBody>
                  <a:tcPr marL="101323" marR="101323" marT="50661" marB="50661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LU" sz="1300" kern="1200" dirty="0">
                        <a:solidFill>
                          <a:srgbClr val="000000"/>
                        </a:solidFill>
                        <a:latin typeface="Trade Gothic LT Pro Cn" panose="020B0506040303020004" pitchFamily="34" charset="0"/>
                        <a:ea typeface="+mn-ea"/>
                        <a:cs typeface="Calibri"/>
                      </a:endParaRPr>
                    </a:p>
                  </a:txBody>
                  <a:tcPr marL="101323" marR="101323" marT="50661" marB="50661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589301780"/>
                  </a:ext>
                </a:extLst>
              </a:tr>
              <a:tr h="689068">
                <a:tc>
                  <a:txBody>
                    <a:bodyPr/>
                    <a:lstStyle/>
                    <a:p>
                      <a:endParaRPr lang="de-LU" sz="1300" kern="0" dirty="0">
                        <a:solidFill>
                          <a:srgbClr val="E76828"/>
                        </a:solidFill>
                        <a:latin typeface="Trade Gothic LT Pro Cn" panose="020B0506040303020004" pitchFamily="34" charset="0"/>
                        <a:ea typeface="+mn-ea"/>
                        <a:cs typeface="Calibri"/>
                      </a:endParaRPr>
                    </a:p>
                  </a:txBody>
                  <a:tcPr marL="101323" marR="101323" marT="50661" marB="50661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300" kern="1200" dirty="0">
                        <a:solidFill>
                          <a:srgbClr val="000000"/>
                        </a:solidFill>
                        <a:latin typeface="Trade Gothic LT Pro Cn" panose="020B0506040303020004" pitchFamily="34" charset="0"/>
                        <a:ea typeface="+mn-ea"/>
                        <a:cs typeface="Calibri"/>
                      </a:endParaRPr>
                    </a:p>
                  </a:txBody>
                  <a:tcPr marL="101323" marR="101323" marT="50661" marB="50661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300" kern="1200" dirty="0">
                        <a:solidFill>
                          <a:srgbClr val="000000"/>
                        </a:solidFill>
                        <a:latin typeface="Trade Gothic LT Pro Cn" panose="020B0506040303020004" pitchFamily="34" charset="0"/>
                        <a:ea typeface="+mn-ea"/>
                        <a:cs typeface="Calibri"/>
                      </a:endParaRPr>
                    </a:p>
                  </a:txBody>
                  <a:tcPr marL="101323" marR="101323" marT="50661" marB="50661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LU" sz="1300" kern="1200" dirty="0">
                        <a:solidFill>
                          <a:srgbClr val="000000"/>
                        </a:solidFill>
                        <a:latin typeface="Trade Gothic LT Pro Cn" panose="020B0506040303020004" pitchFamily="34" charset="0"/>
                        <a:ea typeface="+mn-ea"/>
                        <a:cs typeface="Calibri"/>
                      </a:endParaRPr>
                    </a:p>
                  </a:txBody>
                  <a:tcPr marL="101323" marR="101323" marT="50661" marB="50661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753953781"/>
                  </a:ext>
                </a:extLst>
              </a:tr>
              <a:tr h="689068">
                <a:tc>
                  <a:txBody>
                    <a:bodyPr/>
                    <a:lstStyle/>
                    <a:p>
                      <a:endParaRPr lang="de-LU" sz="1300" kern="0" dirty="0">
                        <a:solidFill>
                          <a:srgbClr val="E76828"/>
                        </a:solidFill>
                        <a:latin typeface="Trade Gothic LT Pro Cn" panose="020B0506040303020004" pitchFamily="34" charset="0"/>
                        <a:ea typeface="+mn-ea"/>
                        <a:cs typeface="Calibri"/>
                      </a:endParaRPr>
                    </a:p>
                  </a:txBody>
                  <a:tcPr marL="101323" marR="101323" marT="50661" marB="50661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300" kern="1200" dirty="0">
                        <a:solidFill>
                          <a:srgbClr val="000000"/>
                        </a:solidFill>
                        <a:latin typeface="Trade Gothic LT Pro Cn" panose="020B0506040303020004" pitchFamily="34" charset="0"/>
                        <a:ea typeface="+mn-ea"/>
                        <a:cs typeface="Calibri"/>
                      </a:endParaRPr>
                    </a:p>
                  </a:txBody>
                  <a:tcPr marL="101323" marR="101323" marT="50661" marB="50661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300" kern="1200" dirty="0">
                        <a:solidFill>
                          <a:srgbClr val="000000"/>
                        </a:solidFill>
                        <a:latin typeface="Trade Gothic LT Pro Cn" panose="020B0506040303020004" pitchFamily="34" charset="0"/>
                        <a:ea typeface="+mn-ea"/>
                        <a:cs typeface="Calibri"/>
                      </a:endParaRPr>
                    </a:p>
                  </a:txBody>
                  <a:tcPr marL="101323" marR="101323" marT="50661" marB="50661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LU" sz="1300" kern="1200" dirty="0">
                        <a:solidFill>
                          <a:srgbClr val="000000"/>
                        </a:solidFill>
                        <a:latin typeface="Trade Gothic LT Pro Cn" panose="020B0506040303020004" pitchFamily="34" charset="0"/>
                        <a:ea typeface="+mn-ea"/>
                        <a:cs typeface="Calibri"/>
                      </a:endParaRPr>
                    </a:p>
                  </a:txBody>
                  <a:tcPr marL="101323" marR="101323" marT="50661" marB="50661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943469389"/>
                  </a:ext>
                </a:extLst>
              </a:tr>
              <a:tr h="689068">
                <a:tc>
                  <a:txBody>
                    <a:bodyPr/>
                    <a:lstStyle/>
                    <a:p>
                      <a:endParaRPr lang="de-LU" sz="1300" kern="0" dirty="0">
                        <a:solidFill>
                          <a:srgbClr val="E76828"/>
                        </a:solidFill>
                        <a:latin typeface="Trade Gothic LT Pro Cn" panose="020B0506040303020004" pitchFamily="34" charset="0"/>
                        <a:ea typeface="+mn-ea"/>
                        <a:cs typeface="Calibri"/>
                      </a:endParaRPr>
                    </a:p>
                  </a:txBody>
                  <a:tcPr marL="101323" marR="101323" marT="50661" marB="50661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300" kern="1200" dirty="0">
                        <a:solidFill>
                          <a:srgbClr val="000000"/>
                        </a:solidFill>
                        <a:latin typeface="Trade Gothic LT Pro Cn" panose="020B0506040303020004" pitchFamily="34" charset="0"/>
                        <a:ea typeface="+mn-ea"/>
                        <a:cs typeface="Calibri"/>
                      </a:endParaRPr>
                    </a:p>
                  </a:txBody>
                  <a:tcPr marL="101323" marR="101323" marT="50661" marB="50661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300" kern="1200" dirty="0">
                        <a:solidFill>
                          <a:srgbClr val="000000"/>
                        </a:solidFill>
                        <a:latin typeface="Trade Gothic LT Pro Cn" panose="020B0506040303020004" pitchFamily="34" charset="0"/>
                        <a:ea typeface="+mn-ea"/>
                        <a:cs typeface="Calibri"/>
                      </a:endParaRPr>
                    </a:p>
                  </a:txBody>
                  <a:tcPr marL="101323" marR="101323" marT="50661" marB="50661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LU" sz="1300" kern="1200" dirty="0">
                        <a:solidFill>
                          <a:srgbClr val="000000"/>
                        </a:solidFill>
                        <a:latin typeface="Trade Gothic LT Pro Cn" panose="020B0506040303020004" pitchFamily="34" charset="0"/>
                        <a:ea typeface="+mn-ea"/>
                        <a:cs typeface="Calibri"/>
                      </a:endParaRPr>
                    </a:p>
                  </a:txBody>
                  <a:tcPr marL="101323" marR="101323" marT="50661" marB="50661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815448186"/>
                  </a:ext>
                </a:extLst>
              </a:tr>
              <a:tr h="689068">
                <a:tc>
                  <a:txBody>
                    <a:bodyPr/>
                    <a:lstStyle/>
                    <a:p>
                      <a:endParaRPr lang="de-LU" sz="1300" kern="0" dirty="0">
                        <a:solidFill>
                          <a:srgbClr val="E76828"/>
                        </a:solidFill>
                        <a:latin typeface="Trade Gothic LT Pro Cn" panose="020B0506040303020004" pitchFamily="34" charset="0"/>
                        <a:ea typeface="+mn-ea"/>
                        <a:cs typeface="Calibri"/>
                      </a:endParaRPr>
                    </a:p>
                  </a:txBody>
                  <a:tcPr marL="101323" marR="101323" marT="50661" marB="50661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300" kern="1200" dirty="0">
                        <a:solidFill>
                          <a:srgbClr val="000000"/>
                        </a:solidFill>
                        <a:latin typeface="Trade Gothic LT Pro Cn" panose="020B0506040303020004" pitchFamily="34" charset="0"/>
                        <a:ea typeface="+mn-ea"/>
                        <a:cs typeface="Calibri"/>
                      </a:endParaRPr>
                    </a:p>
                  </a:txBody>
                  <a:tcPr marL="101323" marR="101323" marT="50661" marB="50661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300" kern="1200" dirty="0">
                        <a:solidFill>
                          <a:srgbClr val="000000"/>
                        </a:solidFill>
                        <a:latin typeface="Trade Gothic LT Pro Cn" panose="020B0506040303020004" pitchFamily="34" charset="0"/>
                        <a:ea typeface="+mn-ea"/>
                        <a:cs typeface="Calibri"/>
                      </a:endParaRPr>
                    </a:p>
                  </a:txBody>
                  <a:tcPr marL="101323" marR="101323" marT="50661" marB="50661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LU" sz="1300" kern="1200" dirty="0">
                        <a:solidFill>
                          <a:srgbClr val="000000"/>
                        </a:solidFill>
                        <a:latin typeface="Trade Gothic LT Pro Cn" panose="020B0506040303020004" pitchFamily="34" charset="0"/>
                        <a:ea typeface="+mn-ea"/>
                        <a:cs typeface="Calibri"/>
                      </a:endParaRPr>
                    </a:p>
                  </a:txBody>
                  <a:tcPr marL="101323" marR="101323" marT="50661" marB="50661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860494366"/>
                  </a:ext>
                </a:extLst>
              </a:tr>
              <a:tr h="689068">
                <a:tc>
                  <a:txBody>
                    <a:bodyPr/>
                    <a:lstStyle/>
                    <a:p>
                      <a:endParaRPr lang="de-LU" sz="1300" kern="0" dirty="0">
                        <a:solidFill>
                          <a:srgbClr val="E76828"/>
                        </a:solidFill>
                        <a:latin typeface="Trade Gothic LT Pro Cn" panose="020B0506040303020004" pitchFamily="34" charset="0"/>
                        <a:ea typeface="+mn-ea"/>
                        <a:cs typeface="Calibri"/>
                      </a:endParaRPr>
                    </a:p>
                  </a:txBody>
                  <a:tcPr marL="101323" marR="101323" marT="50661" marB="50661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300" kern="1200" dirty="0">
                        <a:solidFill>
                          <a:srgbClr val="000000"/>
                        </a:solidFill>
                        <a:latin typeface="Trade Gothic LT Pro Cn" panose="020B0506040303020004" pitchFamily="34" charset="0"/>
                        <a:ea typeface="+mn-ea"/>
                        <a:cs typeface="Calibri"/>
                      </a:endParaRPr>
                    </a:p>
                  </a:txBody>
                  <a:tcPr marL="101323" marR="101323" marT="50661" marB="50661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300" kern="1200" dirty="0">
                        <a:solidFill>
                          <a:srgbClr val="000000"/>
                        </a:solidFill>
                        <a:latin typeface="Trade Gothic LT Pro Cn" panose="020B0506040303020004" pitchFamily="34" charset="0"/>
                        <a:ea typeface="+mn-ea"/>
                        <a:cs typeface="Calibri"/>
                      </a:endParaRPr>
                    </a:p>
                  </a:txBody>
                  <a:tcPr marL="101323" marR="101323" marT="50661" marB="50661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LU" sz="1300" kern="1200" dirty="0">
                        <a:solidFill>
                          <a:srgbClr val="000000"/>
                        </a:solidFill>
                        <a:latin typeface="Trade Gothic LT Pro Cn" panose="020B0506040303020004" pitchFamily="34" charset="0"/>
                        <a:ea typeface="+mn-ea"/>
                        <a:cs typeface="Calibri"/>
                      </a:endParaRPr>
                    </a:p>
                  </a:txBody>
                  <a:tcPr marL="101323" marR="101323" marT="50661" marB="50661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8083798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8905527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1638ABF5-1D0F-5247-847F-7A4902C6260E}"/>
              </a:ext>
            </a:extLst>
          </p:cNvPr>
          <p:cNvSpPr/>
          <p:nvPr/>
        </p:nvSpPr>
        <p:spPr>
          <a:xfrm>
            <a:off x="6591971" y="439564"/>
            <a:ext cx="2442658" cy="1140734"/>
          </a:xfrm>
          <a:prstGeom prst="rect">
            <a:avLst/>
          </a:prstGeom>
          <a:noFill/>
          <a:ln w="38100" cap="flat" cmpd="sng" algn="ctr">
            <a:solidFill>
              <a:srgbClr val="003A5F"/>
            </a:solidFill>
            <a:prstDash val="solid"/>
          </a:ln>
          <a:effec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0" cap="none" spc="0" normalizeH="0" baseline="0" noProof="0" dirty="0" err="1">
              <a:ln>
                <a:noFill/>
              </a:ln>
              <a:solidFill>
                <a:srgbClr val="003A5F"/>
              </a:solidFill>
              <a:effectLst/>
              <a:uLnTx/>
              <a:uFillTx/>
              <a:latin typeface="Trade Gothic LT Pro Cn" panose="020B05060403030200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E07772F9-6F9C-7C45-A57B-3925A77D2B00}"/>
              </a:ext>
            </a:extLst>
          </p:cNvPr>
          <p:cNvSpPr/>
          <p:nvPr/>
        </p:nvSpPr>
        <p:spPr>
          <a:xfrm>
            <a:off x="3957125" y="2069098"/>
            <a:ext cx="4519877" cy="2314181"/>
          </a:xfrm>
          <a:prstGeom prst="ellipse">
            <a:avLst/>
          </a:prstGeom>
          <a:noFill/>
          <a:ln w="38100" cap="flat" cmpd="sng" algn="ctr">
            <a:solidFill>
              <a:srgbClr val="003A5F"/>
            </a:solidFill>
            <a:prstDash val="solid"/>
          </a:ln>
          <a:effec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3200" b="0" i="0" u="none" strike="noStrike" kern="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ade Gothic LT Pro Cn" panose="020B0506040303020004" pitchFamily="34" charset="0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3B45FD20-9CA8-DD49-87F3-55FF7F5DBC5A}"/>
              </a:ext>
            </a:extLst>
          </p:cNvPr>
          <p:cNvCxnSpPr>
            <a:cxnSpLocks/>
            <a:endCxn id="14" idx="3"/>
          </p:cNvCxnSpPr>
          <p:nvPr/>
        </p:nvCxnSpPr>
        <p:spPr>
          <a:xfrm flipH="1" flipV="1">
            <a:off x="2748195" y="1927478"/>
            <a:ext cx="1414756" cy="820895"/>
          </a:xfrm>
          <a:prstGeom prst="straightConnector1">
            <a:avLst/>
          </a:prstGeom>
          <a:noFill/>
          <a:ln w="9525" cap="flat" cmpd="sng" algn="ctr">
            <a:solidFill>
              <a:srgbClr val="003A5F"/>
            </a:solidFill>
            <a:prstDash val="solid"/>
            <a:headEnd type="triangle"/>
            <a:tailEnd type="triangle"/>
          </a:ln>
          <a:effectLst/>
        </p:spPr>
      </p:cxn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67A052E3-A203-B146-BDFD-26D4AD79B89A}"/>
              </a:ext>
            </a:extLst>
          </p:cNvPr>
          <p:cNvCxnSpPr>
            <a:cxnSpLocks/>
            <a:endCxn id="15" idx="2"/>
          </p:cNvCxnSpPr>
          <p:nvPr/>
        </p:nvCxnSpPr>
        <p:spPr>
          <a:xfrm flipH="1" flipV="1">
            <a:off x="4391100" y="1580298"/>
            <a:ext cx="731896" cy="679275"/>
          </a:xfrm>
          <a:prstGeom prst="straightConnector1">
            <a:avLst/>
          </a:prstGeom>
          <a:noFill/>
          <a:ln w="9525" cap="flat" cmpd="sng" algn="ctr">
            <a:solidFill>
              <a:srgbClr val="003A5F"/>
            </a:solidFill>
            <a:prstDash val="solid"/>
            <a:headEnd type="triangle"/>
            <a:tailEnd type="triangle"/>
          </a:ln>
          <a:effectLst/>
        </p:spPr>
      </p:cxn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BD7E16C7-A265-0D44-B846-2104B395A888}"/>
              </a:ext>
            </a:extLst>
          </p:cNvPr>
          <p:cNvCxnSpPr>
            <a:cxnSpLocks/>
          </p:cNvCxnSpPr>
          <p:nvPr/>
        </p:nvCxnSpPr>
        <p:spPr>
          <a:xfrm flipV="1">
            <a:off x="7298727" y="1530701"/>
            <a:ext cx="564170" cy="679272"/>
          </a:xfrm>
          <a:prstGeom prst="straightConnector1">
            <a:avLst/>
          </a:prstGeom>
          <a:noFill/>
          <a:ln w="9525" cap="flat" cmpd="sng" algn="ctr">
            <a:solidFill>
              <a:srgbClr val="003A5F"/>
            </a:solidFill>
            <a:prstDash val="solid"/>
            <a:headEnd type="triangle"/>
            <a:tailEnd type="triangle"/>
          </a:ln>
          <a:effectLst/>
        </p:spPr>
      </p:cxn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A8E69AA6-5467-7244-BFE7-85A03D52C9EB}"/>
              </a:ext>
            </a:extLst>
          </p:cNvPr>
          <p:cNvCxnSpPr>
            <a:cxnSpLocks/>
            <a:endCxn id="16" idx="1"/>
          </p:cNvCxnSpPr>
          <p:nvPr/>
        </p:nvCxnSpPr>
        <p:spPr>
          <a:xfrm flipV="1">
            <a:off x="8311751" y="1927478"/>
            <a:ext cx="1119654" cy="802729"/>
          </a:xfrm>
          <a:prstGeom prst="straightConnector1">
            <a:avLst/>
          </a:prstGeom>
          <a:noFill/>
          <a:ln w="9525" cap="flat" cmpd="sng" algn="ctr">
            <a:solidFill>
              <a:srgbClr val="003A5F"/>
            </a:solidFill>
            <a:prstDash val="solid"/>
            <a:headEnd type="triangle"/>
            <a:tailEnd type="triangle"/>
          </a:ln>
          <a:effectLst/>
        </p:spPr>
      </p:cxn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9104264D-AF3E-5C46-936A-92FE9AC6E330}"/>
              </a:ext>
            </a:extLst>
          </p:cNvPr>
          <p:cNvCxnSpPr>
            <a:cxnSpLocks/>
            <a:stCxn id="15" idx="1"/>
            <a:endCxn id="14" idx="3"/>
          </p:cNvCxnSpPr>
          <p:nvPr/>
        </p:nvCxnSpPr>
        <p:spPr>
          <a:xfrm flipH="1">
            <a:off x="2748193" y="1009931"/>
            <a:ext cx="421575" cy="917547"/>
          </a:xfrm>
          <a:prstGeom prst="straightConnector1">
            <a:avLst/>
          </a:prstGeom>
          <a:noFill/>
          <a:ln w="9525" cap="flat" cmpd="sng" algn="ctr">
            <a:solidFill>
              <a:srgbClr val="003A5F"/>
            </a:solidFill>
            <a:prstDash val="solid"/>
            <a:headEnd type="triangle"/>
            <a:tailEnd type="triangle"/>
          </a:ln>
          <a:effectLst/>
        </p:spPr>
      </p:cxn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408B58CB-CD19-A344-B3E1-9C1D34B058C8}"/>
              </a:ext>
            </a:extLst>
          </p:cNvPr>
          <p:cNvCxnSpPr>
            <a:cxnSpLocks/>
            <a:stCxn id="5" idx="1"/>
            <a:endCxn id="15" idx="3"/>
          </p:cNvCxnSpPr>
          <p:nvPr/>
        </p:nvCxnSpPr>
        <p:spPr>
          <a:xfrm flipH="1">
            <a:off x="5612428" y="1009931"/>
            <a:ext cx="979543" cy="0"/>
          </a:xfrm>
          <a:prstGeom prst="straightConnector1">
            <a:avLst/>
          </a:prstGeom>
          <a:noFill/>
          <a:ln w="9525" cap="flat" cmpd="sng" algn="ctr">
            <a:solidFill>
              <a:srgbClr val="003A5F"/>
            </a:solidFill>
            <a:prstDash val="solid"/>
            <a:headEnd type="triangle"/>
            <a:tailEnd type="triangle"/>
          </a:ln>
          <a:effectLst/>
        </p:spPr>
      </p:cxn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9E82FFC8-B287-B44F-8966-AAA3385616F3}"/>
              </a:ext>
            </a:extLst>
          </p:cNvPr>
          <p:cNvCxnSpPr>
            <a:cxnSpLocks/>
            <a:stCxn id="16" idx="1"/>
            <a:endCxn id="5" idx="3"/>
          </p:cNvCxnSpPr>
          <p:nvPr/>
        </p:nvCxnSpPr>
        <p:spPr>
          <a:xfrm flipH="1" flipV="1">
            <a:off x="9034627" y="1009931"/>
            <a:ext cx="396777" cy="917547"/>
          </a:xfrm>
          <a:prstGeom prst="straightConnector1">
            <a:avLst/>
          </a:prstGeom>
          <a:noFill/>
          <a:ln w="9525" cap="flat" cmpd="sng" algn="ctr">
            <a:solidFill>
              <a:srgbClr val="003A5F"/>
            </a:solidFill>
            <a:prstDash val="solid"/>
            <a:headEnd type="triangle"/>
            <a:tailEnd type="triangle"/>
          </a:ln>
          <a:effectLst/>
        </p:spPr>
      </p:cxnSp>
      <p:sp>
        <p:nvSpPr>
          <p:cNvPr id="14" name="Rectangle 13">
            <a:extLst>
              <a:ext uri="{FF2B5EF4-FFF2-40B4-BE49-F238E27FC236}">
                <a16:creationId xmlns:a16="http://schemas.microsoft.com/office/drawing/2014/main" id="{3C960916-A207-3044-9D80-3B990C7CF59A}"/>
              </a:ext>
            </a:extLst>
          </p:cNvPr>
          <p:cNvSpPr/>
          <p:nvPr/>
        </p:nvSpPr>
        <p:spPr>
          <a:xfrm>
            <a:off x="305537" y="1357111"/>
            <a:ext cx="2442658" cy="1140734"/>
          </a:xfrm>
          <a:prstGeom prst="rect">
            <a:avLst/>
          </a:prstGeom>
          <a:noFill/>
          <a:ln w="9525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0" cap="none" spc="0" normalizeH="0" baseline="0" noProof="0" dirty="0" err="1">
              <a:ln>
                <a:noFill/>
              </a:ln>
              <a:solidFill>
                <a:srgbClr val="5FB18B"/>
              </a:solidFill>
              <a:effectLst/>
              <a:uLnTx/>
              <a:uFillTx/>
              <a:latin typeface="Trade Gothic LT Pro Cn" panose="020B05060403030200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0723E2E-708D-594C-9D9F-B0FCF83EA9DB}"/>
              </a:ext>
            </a:extLst>
          </p:cNvPr>
          <p:cNvSpPr/>
          <p:nvPr/>
        </p:nvSpPr>
        <p:spPr>
          <a:xfrm>
            <a:off x="3169770" y="439564"/>
            <a:ext cx="2442658" cy="1140734"/>
          </a:xfrm>
          <a:prstGeom prst="rect">
            <a:avLst/>
          </a:prstGeom>
          <a:noFill/>
          <a:ln w="38100" cap="flat" cmpd="sng" algn="ctr">
            <a:solidFill>
              <a:srgbClr val="003A5F"/>
            </a:solidFill>
            <a:prstDash val="solid"/>
          </a:ln>
          <a:effec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0" cap="none" spc="0" normalizeH="0" baseline="0" noProof="0" dirty="0" err="1">
              <a:ln>
                <a:noFill/>
              </a:ln>
              <a:solidFill>
                <a:srgbClr val="003A5F"/>
              </a:solidFill>
              <a:effectLst/>
              <a:uLnTx/>
              <a:uFillTx/>
              <a:latin typeface="Trade Gothic LT Pro Cn" panose="020B05060403030200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0632CC73-40B8-4A43-B831-06D35F0D1A14}"/>
              </a:ext>
            </a:extLst>
          </p:cNvPr>
          <p:cNvSpPr/>
          <p:nvPr/>
        </p:nvSpPr>
        <p:spPr>
          <a:xfrm>
            <a:off x="9431405" y="1357111"/>
            <a:ext cx="2442658" cy="1140734"/>
          </a:xfrm>
          <a:prstGeom prst="rect">
            <a:avLst/>
          </a:prstGeom>
          <a:noFill/>
          <a:ln w="38100" cap="flat" cmpd="sng" algn="ctr">
            <a:solidFill>
              <a:srgbClr val="003A5F"/>
            </a:solidFill>
            <a:prstDash val="solid"/>
          </a:ln>
          <a:effec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0" cap="none" spc="0" normalizeH="0" baseline="0" noProof="0" dirty="0" err="1">
              <a:ln>
                <a:noFill/>
              </a:ln>
              <a:solidFill>
                <a:srgbClr val="003A5F"/>
              </a:solidFill>
              <a:effectLst/>
              <a:uLnTx/>
              <a:uFillTx/>
              <a:latin typeface="Trade Gothic LT Pro Cn" panose="020B05060403030200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05B5D54E-461A-564E-B702-9BB372B49382}"/>
              </a:ext>
            </a:extLst>
          </p:cNvPr>
          <p:cNvSpPr/>
          <p:nvPr/>
        </p:nvSpPr>
        <p:spPr>
          <a:xfrm rot="10800000" flipV="1">
            <a:off x="317936" y="3819083"/>
            <a:ext cx="2442658" cy="1140734"/>
          </a:xfrm>
          <a:prstGeom prst="rect">
            <a:avLst/>
          </a:prstGeom>
          <a:noFill/>
          <a:ln w="38100" cap="flat" cmpd="sng" algn="ctr">
            <a:solidFill>
              <a:srgbClr val="F57E20"/>
            </a:solidFill>
            <a:prstDash val="solid"/>
          </a:ln>
          <a:effec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0" cap="none" spc="0" normalizeH="0" baseline="0" noProof="0" dirty="0" err="1">
              <a:ln>
                <a:noFill/>
              </a:ln>
              <a:solidFill>
                <a:srgbClr val="E76828"/>
              </a:solidFill>
              <a:effectLst/>
              <a:uLnTx/>
              <a:uFillTx/>
              <a:latin typeface="Trade Gothic LT Pro Cn" panose="020B05060403030200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A23BD6C5-4C1C-E745-A868-FD485F61D4F9}"/>
              </a:ext>
            </a:extLst>
          </p:cNvPr>
          <p:cNvSpPr/>
          <p:nvPr/>
        </p:nvSpPr>
        <p:spPr>
          <a:xfrm rot="10800000" flipV="1">
            <a:off x="6604370" y="4736630"/>
            <a:ext cx="2442658" cy="1140734"/>
          </a:xfrm>
          <a:prstGeom prst="rect">
            <a:avLst/>
          </a:prstGeom>
          <a:noFill/>
          <a:ln w="38100" cap="flat" cmpd="sng" algn="ctr">
            <a:solidFill>
              <a:srgbClr val="F57E20"/>
            </a:solidFill>
            <a:prstDash val="solid"/>
          </a:ln>
          <a:effec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0" cap="none" spc="0" normalizeH="0" baseline="0" noProof="0" dirty="0" err="1">
              <a:ln>
                <a:noFill/>
              </a:ln>
              <a:solidFill>
                <a:srgbClr val="E76828"/>
              </a:solidFill>
              <a:effectLst/>
              <a:uLnTx/>
              <a:uFillTx/>
              <a:latin typeface="Trade Gothic LT Pro Cn" panose="020B0506040303020004" pitchFamily="34" charset="0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039222FA-407A-4745-AF70-2DA30199AEDE}"/>
              </a:ext>
            </a:extLst>
          </p:cNvPr>
          <p:cNvCxnSpPr>
            <a:cxnSpLocks/>
            <a:endCxn id="17" idx="1"/>
          </p:cNvCxnSpPr>
          <p:nvPr/>
        </p:nvCxnSpPr>
        <p:spPr>
          <a:xfrm flipH="1">
            <a:off x="2760594" y="3701206"/>
            <a:ext cx="1475517" cy="688244"/>
          </a:xfrm>
          <a:prstGeom prst="straightConnector1">
            <a:avLst/>
          </a:prstGeom>
          <a:noFill/>
          <a:ln w="9525" cap="flat" cmpd="sng" algn="ctr">
            <a:solidFill>
              <a:srgbClr val="003A5F"/>
            </a:solidFill>
            <a:prstDash val="solid"/>
            <a:headEnd type="triangle"/>
            <a:tailEnd type="triangle"/>
          </a:ln>
          <a:effectLst/>
        </p:spPr>
      </p:cxn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97674767-1BCE-B944-A03F-4BD83B085E96}"/>
              </a:ext>
            </a:extLst>
          </p:cNvPr>
          <p:cNvCxnSpPr>
            <a:cxnSpLocks/>
            <a:endCxn id="26" idx="0"/>
          </p:cNvCxnSpPr>
          <p:nvPr/>
        </p:nvCxnSpPr>
        <p:spPr>
          <a:xfrm flipH="1">
            <a:off x="4403497" y="4186306"/>
            <a:ext cx="564170" cy="550324"/>
          </a:xfrm>
          <a:prstGeom prst="straightConnector1">
            <a:avLst/>
          </a:prstGeom>
          <a:noFill/>
          <a:ln w="9525" cap="flat" cmpd="sng" algn="ctr">
            <a:solidFill>
              <a:srgbClr val="003A5F"/>
            </a:solidFill>
            <a:prstDash val="solid"/>
            <a:headEnd type="triangle"/>
            <a:tailEnd type="triangle"/>
          </a:ln>
          <a:effectLst/>
        </p:spPr>
      </p:cxn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4282A6C3-C1C7-A141-85CC-78F5A198E821}"/>
              </a:ext>
            </a:extLst>
          </p:cNvPr>
          <p:cNvCxnSpPr>
            <a:cxnSpLocks/>
            <a:endCxn id="18" idx="0"/>
          </p:cNvCxnSpPr>
          <p:nvPr/>
        </p:nvCxnSpPr>
        <p:spPr>
          <a:xfrm>
            <a:off x="7385528" y="4186306"/>
            <a:ext cx="440170" cy="550324"/>
          </a:xfrm>
          <a:prstGeom prst="straightConnector1">
            <a:avLst/>
          </a:prstGeom>
          <a:noFill/>
          <a:ln w="9525" cap="flat" cmpd="sng" algn="ctr">
            <a:solidFill>
              <a:srgbClr val="003A5F"/>
            </a:solidFill>
            <a:prstDash val="solid"/>
            <a:headEnd type="triangle"/>
            <a:tailEnd type="triangle"/>
          </a:ln>
          <a:effectLst/>
        </p:spPr>
      </p:cxn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F64D378F-9CB3-7D40-879F-1147DBBA1860}"/>
              </a:ext>
            </a:extLst>
          </p:cNvPr>
          <p:cNvCxnSpPr>
            <a:cxnSpLocks/>
            <a:endCxn id="27" idx="3"/>
          </p:cNvCxnSpPr>
          <p:nvPr/>
        </p:nvCxnSpPr>
        <p:spPr>
          <a:xfrm>
            <a:off x="8352668" y="3701206"/>
            <a:ext cx="1091136" cy="688244"/>
          </a:xfrm>
          <a:prstGeom prst="straightConnector1">
            <a:avLst/>
          </a:prstGeom>
          <a:noFill/>
          <a:ln w="9525" cap="flat" cmpd="sng" algn="ctr">
            <a:solidFill>
              <a:srgbClr val="003A5F"/>
            </a:solidFill>
            <a:prstDash val="solid"/>
            <a:headEnd type="triangle"/>
            <a:tailEnd type="triangle"/>
          </a:ln>
          <a:effectLst/>
        </p:spPr>
      </p:cxnSp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id="{1EFD5ADE-0881-8641-B555-AD628176BBAB}"/>
              </a:ext>
            </a:extLst>
          </p:cNvPr>
          <p:cNvCxnSpPr>
            <a:cxnSpLocks/>
            <a:stCxn id="26" idx="3"/>
            <a:endCxn id="17" idx="1"/>
          </p:cNvCxnSpPr>
          <p:nvPr/>
        </p:nvCxnSpPr>
        <p:spPr>
          <a:xfrm flipH="1" flipV="1">
            <a:off x="2760593" y="4389450"/>
            <a:ext cx="421575" cy="917547"/>
          </a:xfrm>
          <a:prstGeom prst="straightConnector1">
            <a:avLst/>
          </a:prstGeom>
          <a:noFill/>
          <a:ln w="9525" cap="flat" cmpd="sng" algn="ctr">
            <a:solidFill>
              <a:srgbClr val="003A5F"/>
            </a:solidFill>
            <a:prstDash val="solid"/>
            <a:headEnd type="triangle"/>
            <a:tailEnd type="triangle"/>
          </a:ln>
          <a:effectLst/>
        </p:spPr>
      </p:cxn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84698655-95BC-314A-BE3B-DCA080BC41FF}"/>
              </a:ext>
            </a:extLst>
          </p:cNvPr>
          <p:cNvCxnSpPr>
            <a:cxnSpLocks/>
            <a:stCxn id="18" idx="3"/>
            <a:endCxn id="26" idx="1"/>
          </p:cNvCxnSpPr>
          <p:nvPr/>
        </p:nvCxnSpPr>
        <p:spPr>
          <a:xfrm flipH="1">
            <a:off x="5624827" y="5306997"/>
            <a:ext cx="979543" cy="0"/>
          </a:xfrm>
          <a:prstGeom prst="straightConnector1">
            <a:avLst/>
          </a:prstGeom>
          <a:noFill/>
          <a:ln w="9525" cap="flat" cmpd="sng" algn="ctr">
            <a:solidFill>
              <a:srgbClr val="003A5F"/>
            </a:solidFill>
            <a:prstDash val="solid"/>
            <a:headEnd type="triangle"/>
            <a:tailEnd type="triangle"/>
          </a:ln>
          <a:effectLst/>
        </p:spPr>
      </p:cxn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82468A20-E40F-884F-8EBD-75FAD7A30721}"/>
              </a:ext>
            </a:extLst>
          </p:cNvPr>
          <p:cNvCxnSpPr>
            <a:cxnSpLocks/>
            <a:stCxn id="27" idx="3"/>
            <a:endCxn id="18" idx="1"/>
          </p:cNvCxnSpPr>
          <p:nvPr/>
        </p:nvCxnSpPr>
        <p:spPr>
          <a:xfrm flipH="1">
            <a:off x="9047026" y="4389450"/>
            <a:ext cx="396777" cy="917547"/>
          </a:xfrm>
          <a:prstGeom prst="straightConnector1">
            <a:avLst/>
          </a:prstGeom>
          <a:noFill/>
          <a:ln w="9525" cap="flat" cmpd="sng" algn="ctr">
            <a:solidFill>
              <a:srgbClr val="003A5F"/>
            </a:solidFill>
            <a:prstDash val="solid"/>
            <a:headEnd type="triangle"/>
            <a:tailEnd type="triangle"/>
          </a:ln>
          <a:effectLst/>
        </p:spPr>
      </p:cxnSp>
      <p:sp>
        <p:nvSpPr>
          <p:cNvPr id="26" name="Rectangle 25">
            <a:extLst>
              <a:ext uri="{FF2B5EF4-FFF2-40B4-BE49-F238E27FC236}">
                <a16:creationId xmlns:a16="http://schemas.microsoft.com/office/drawing/2014/main" id="{EA9DFE7F-83BA-3849-A9FE-1FC02F914304}"/>
              </a:ext>
            </a:extLst>
          </p:cNvPr>
          <p:cNvSpPr/>
          <p:nvPr/>
        </p:nvSpPr>
        <p:spPr>
          <a:xfrm rot="10800000" flipV="1">
            <a:off x="3182169" y="4736630"/>
            <a:ext cx="2442658" cy="1140734"/>
          </a:xfrm>
          <a:prstGeom prst="rect">
            <a:avLst/>
          </a:prstGeom>
          <a:noFill/>
          <a:ln w="38100" cap="flat" cmpd="sng" algn="ctr">
            <a:solidFill>
              <a:srgbClr val="F57E20"/>
            </a:solidFill>
            <a:prstDash val="solid"/>
          </a:ln>
          <a:effec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0" cap="none" spc="0" normalizeH="0" baseline="0" noProof="0" dirty="0" err="1">
              <a:ln>
                <a:noFill/>
              </a:ln>
              <a:solidFill>
                <a:srgbClr val="E76828"/>
              </a:solidFill>
              <a:effectLst/>
              <a:uLnTx/>
              <a:uFillTx/>
              <a:latin typeface="Trade Gothic LT Pro Cn" panose="020B05060403030200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D3C14B4C-33C9-C844-B99C-4E42590E66A0}"/>
              </a:ext>
            </a:extLst>
          </p:cNvPr>
          <p:cNvSpPr/>
          <p:nvPr/>
        </p:nvSpPr>
        <p:spPr>
          <a:xfrm rot="10800000" flipV="1">
            <a:off x="9443804" y="3819083"/>
            <a:ext cx="2442658" cy="1140734"/>
          </a:xfrm>
          <a:prstGeom prst="rect">
            <a:avLst/>
          </a:prstGeom>
          <a:noFill/>
          <a:ln w="38100" cap="flat" cmpd="sng" algn="ctr">
            <a:solidFill>
              <a:srgbClr val="003A5F"/>
            </a:solidFill>
            <a:prstDash val="solid"/>
          </a:ln>
          <a:effec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0" cap="none" spc="0" normalizeH="0" baseline="0" noProof="0" dirty="0" err="1">
              <a:ln>
                <a:noFill/>
              </a:ln>
              <a:solidFill>
                <a:srgbClr val="003A5F"/>
              </a:solidFill>
              <a:effectLst/>
              <a:uLnTx/>
              <a:uFillTx/>
              <a:latin typeface="Trade Gothic LT Pro Cn" panose="020B0506040303020004" pitchFamily="34" charset="0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28" name="Straight Arrow Connector 27">
            <a:extLst>
              <a:ext uri="{FF2B5EF4-FFF2-40B4-BE49-F238E27FC236}">
                <a16:creationId xmlns:a16="http://schemas.microsoft.com/office/drawing/2014/main" id="{6A37D8BB-2724-B249-9FD3-B7A62B82DB3D}"/>
              </a:ext>
            </a:extLst>
          </p:cNvPr>
          <p:cNvCxnSpPr>
            <a:cxnSpLocks/>
            <a:stCxn id="17" idx="0"/>
            <a:endCxn id="14" idx="2"/>
          </p:cNvCxnSpPr>
          <p:nvPr/>
        </p:nvCxnSpPr>
        <p:spPr>
          <a:xfrm flipH="1" flipV="1">
            <a:off x="1526865" y="2497845"/>
            <a:ext cx="12398" cy="1321239"/>
          </a:xfrm>
          <a:prstGeom prst="straightConnector1">
            <a:avLst/>
          </a:prstGeom>
          <a:noFill/>
          <a:ln w="9525" cap="flat" cmpd="sng" algn="ctr">
            <a:solidFill>
              <a:srgbClr val="003A5F"/>
            </a:solidFill>
            <a:prstDash val="solid"/>
            <a:headEnd type="triangle"/>
            <a:tailEnd type="triangle"/>
          </a:ln>
          <a:effectLst/>
        </p:spPr>
      </p:cxnSp>
      <p:cxnSp>
        <p:nvCxnSpPr>
          <p:cNvPr id="29" name="Straight Arrow Connector 28">
            <a:extLst>
              <a:ext uri="{FF2B5EF4-FFF2-40B4-BE49-F238E27FC236}">
                <a16:creationId xmlns:a16="http://schemas.microsoft.com/office/drawing/2014/main" id="{BD64A2A1-0ECD-4147-87DE-5ED4170E7EAA}"/>
              </a:ext>
            </a:extLst>
          </p:cNvPr>
          <p:cNvCxnSpPr>
            <a:cxnSpLocks/>
            <a:stCxn id="27" idx="0"/>
            <a:endCxn id="16" idx="2"/>
          </p:cNvCxnSpPr>
          <p:nvPr/>
        </p:nvCxnSpPr>
        <p:spPr>
          <a:xfrm flipH="1" flipV="1">
            <a:off x="10652733" y="2497845"/>
            <a:ext cx="12398" cy="1321239"/>
          </a:xfrm>
          <a:prstGeom prst="straightConnector1">
            <a:avLst/>
          </a:prstGeom>
          <a:noFill/>
          <a:ln w="9525" cap="flat" cmpd="sng" algn="ctr">
            <a:solidFill>
              <a:srgbClr val="003A5F"/>
            </a:solidFill>
            <a:prstDash val="solid"/>
            <a:headEnd type="triangle"/>
            <a:tailEnd type="triangle"/>
          </a:ln>
          <a:effectLst/>
        </p:spPr>
      </p:cxnSp>
      <p:grpSp>
        <p:nvGrpSpPr>
          <p:cNvPr id="30" name="Group 29">
            <a:extLst>
              <a:ext uri="{FF2B5EF4-FFF2-40B4-BE49-F238E27FC236}">
                <a16:creationId xmlns:a16="http://schemas.microsoft.com/office/drawing/2014/main" id="{6F0A64A0-D1D9-E540-9679-91E5D4E22B91}"/>
              </a:ext>
            </a:extLst>
          </p:cNvPr>
          <p:cNvGrpSpPr/>
          <p:nvPr/>
        </p:nvGrpSpPr>
        <p:grpSpPr>
          <a:xfrm>
            <a:off x="355125" y="5487138"/>
            <a:ext cx="1280418" cy="220430"/>
            <a:chOff x="7464780" y="757338"/>
            <a:chExt cx="983605" cy="169332"/>
          </a:xfrm>
        </p:grpSpPr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7ACD5CBC-D03A-7543-970D-7DA87A37D780}"/>
                </a:ext>
              </a:extLst>
            </p:cNvPr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gray">
            <a:xfrm>
              <a:off x="7756331" y="759254"/>
              <a:ext cx="692054" cy="16550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/>
            <a:p>
              <a:pPr marL="342900" marR="0" lvl="0" indent="-342900" defTabSz="91440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rade Gothic LT Pro Cn" panose="020B0506040303020004" pitchFamily="34" charset="0"/>
                  <a:cs typeface="Arial" panose="020B0604020202020204" pitchFamily="34" charset="0"/>
                </a:rPr>
                <a:t>Già</a:t>
              </a: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rade Gothic LT Pro Cn" panose="020B0506040303020004" pitchFamily="34" charset="0"/>
                  <a:cs typeface="Arial" panose="020B0604020202020204" pitchFamily="34" charset="0"/>
                </a:rPr>
                <a:t> </a:t>
              </a:r>
              <a:r>
                <a:rPr kumimoji="0" lang="en-US" sz="1400" b="0" i="0" u="none" strike="noStrike" kern="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rade Gothic LT Pro Cn" panose="020B0506040303020004" pitchFamily="34" charset="0"/>
                  <a:cs typeface="Arial" panose="020B0604020202020204" pitchFamily="34" charset="0"/>
                </a:rPr>
                <a:t>ingaggiati</a:t>
              </a: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ade Gothic LT Pro Cn" panose="020B05060403030200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1198AE31-D569-134E-865A-FC370DA504EC}"/>
                </a:ext>
              </a:extLst>
            </p:cNvPr>
            <p:cNvSpPr/>
            <p:nvPr/>
          </p:nvSpPr>
          <p:spPr>
            <a:xfrm>
              <a:off x="7464780" y="757338"/>
              <a:ext cx="169332" cy="169332"/>
            </a:xfrm>
            <a:prstGeom prst="rect">
              <a:avLst/>
            </a:prstGeom>
            <a:solidFill>
              <a:srgbClr val="F57E20"/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ade Gothic LT Pro Cn" panose="020B05060403030200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31" name="Group 30">
            <a:extLst>
              <a:ext uri="{FF2B5EF4-FFF2-40B4-BE49-F238E27FC236}">
                <a16:creationId xmlns:a16="http://schemas.microsoft.com/office/drawing/2014/main" id="{4114020C-E985-CD45-AEF0-747D6E4699C4}"/>
              </a:ext>
            </a:extLst>
          </p:cNvPr>
          <p:cNvGrpSpPr/>
          <p:nvPr/>
        </p:nvGrpSpPr>
        <p:grpSpPr>
          <a:xfrm>
            <a:off x="355122" y="6096625"/>
            <a:ext cx="1270799" cy="220430"/>
            <a:chOff x="7464781" y="998638"/>
            <a:chExt cx="976216" cy="169332"/>
          </a:xfrm>
        </p:grpSpPr>
        <p:sp>
          <p:nvSpPr>
            <p:cNvPr id="32" name="Rectangle 43">
              <a:extLst>
                <a:ext uri="{FF2B5EF4-FFF2-40B4-BE49-F238E27FC236}">
                  <a16:creationId xmlns:a16="http://schemas.microsoft.com/office/drawing/2014/main" id="{8239B1ED-5FFD-2F4F-B9AB-5781DE624D7B}"/>
                </a:ext>
              </a:extLst>
            </p:cNvPr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gray">
            <a:xfrm>
              <a:off x="7756332" y="1000553"/>
              <a:ext cx="684665" cy="16550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/>
            <a:p>
              <a:pPr marL="342900" marR="0" lvl="0" indent="-342900" defTabSz="91440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rade Gothic LT Pro Cn" panose="020B0506040303020004" pitchFamily="34" charset="0"/>
                  <a:cs typeface="Arial" panose="020B0604020202020204" pitchFamily="34" charset="0"/>
                </a:rPr>
                <a:t>Da </a:t>
              </a:r>
              <a:r>
                <a:rPr kumimoji="0" lang="en-US" sz="1400" b="0" i="0" u="none" strike="noStrike" kern="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rade Gothic LT Pro Cn" panose="020B0506040303020004" pitchFamily="34" charset="0"/>
                  <a:cs typeface="Arial" panose="020B0604020202020204" pitchFamily="34" charset="0"/>
                </a:rPr>
                <a:t>ingaggiare</a:t>
              </a: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ade Gothic LT Pro Cn" panose="020B05060403030200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85A005BC-B3F2-CE47-BAA6-396E1BB81797}"/>
                </a:ext>
              </a:extLst>
            </p:cNvPr>
            <p:cNvSpPr/>
            <p:nvPr/>
          </p:nvSpPr>
          <p:spPr>
            <a:xfrm>
              <a:off x="7464781" y="998638"/>
              <a:ext cx="169332" cy="169332"/>
            </a:xfrm>
            <a:prstGeom prst="rect">
              <a:avLst/>
            </a:prstGeom>
            <a:solidFill>
              <a:srgbClr val="003A5F"/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ade Gothic LT Pro Cn" panose="020B05060403030200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0254351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.c00_36T0u5tsTp5qugD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JMM1Hc0cESxFy6LjxIb7g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8</TotalTime>
  <Words>8</Words>
  <Application>Microsoft Macintosh PowerPoint</Application>
  <PresentationFormat>Widescreen</PresentationFormat>
  <Paragraphs>6</Paragraphs>
  <Slides>2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7" baseType="lpstr">
      <vt:lpstr>Arial</vt:lpstr>
      <vt:lpstr>Calibri</vt:lpstr>
      <vt:lpstr>Calibri Light</vt:lpstr>
      <vt:lpstr>Trade Gothic LT Pro Cn</vt:lpstr>
      <vt:lpstr>Office Theme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Giulia Sergi</dc:creator>
  <cp:lastModifiedBy>Giulia Sergi</cp:lastModifiedBy>
  <cp:revision>2</cp:revision>
  <dcterms:created xsi:type="dcterms:W3CDTF">2019-05-17T14:56:27Z</dcterms:created>
  <dcterms:modified xsi:type="dcterms:W3CDTF">2019-05-17T15:04:48Z</dcterms:modified>
</cp:coreProperties>
</file>